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E4F8D-0E9B-37AB-9BD0-05DE94224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73891E6D-9F47-A6B1-CB2A-EE94FF63D3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891E6D-9F47-A6B1-CB2A-EE94FF63D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44B9D9-8F86-39B2-606A-04012C725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10D38-1C6B-D374-04E4-CF2949AA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iamond 4">
            <a:extLst>
              <a:ext uri="{FF2B5EF4-FFF2-40B4-BE49-F238E27FC236}">
                <a16:creationId xmlns:a16="http://schemas.microsoft.com/office/drawing/2014/main" id="{B1FD545F-B9DB-EEF8-A5CE-2F46E8774F3D}"/>
              </a:ext>
            </a:extLst>
          </p:cNvPr>
          <p:cNvSpPr/>
          <p:nvPr/>
        </p:nvSpPr>
        <p:spPr bwMode="auto">
          <a:xfrm>
            <a:off x="4638680" y="2124837"/>
            <a:ext cx="2950410" cy="2950413"/>
          </a:xfrm>
          <a:prstGeom prst="diamond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B8403D-7DFE-0507-3A1B-4B1921D69CF2}"/>
              </a:ext>
            </a:extLst>
          </p:cNvPr>
          <p:cNvSpPr/>
          <p:nvPr/>
        </p:nvSpPr>
        <p:spPr bwMode="auto">
          <a:xfrm>
            <a:off x="2046000" y="1017580"/>
            <a:ext cx="1286120" cy="1286121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99D20EE-78CA-17B7-F7D3-5C61318EC653}"/>
              </a:ext>
            </a:extLst>
          </p:cNvPr>
          <p:cNvSpPr/>
          <p:nvPr/>
        </p:nvSpPr>
        <p:spPr bwMode="auto">
          <a:xfrm>
            <a:off x="2046000" y="4906606"/>
            <a:ext cx="1286120" cy="1286122"/>
          </a:xfrm>
          <a:prstGeom prst="ellipse">
            <a:avLst/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15E7A1F-6391-3C12-2D90-CADC69C8970A}"/>
              </a:ext>
            </a:extLst>
          </p:cNvPr>
          <p:cNvSpPr/>
          <p:nvPr/>
        </p:nvSpPr>
        <p:spPr bwMode="auto">
          <a:xfrm>
            <a:off x="8859880" y="1017580"/>
            <a:ext cx="1286120" cy="1286121"/>
          </a:xfrm>
          <a:prstGeom prst="ellipse">
            <a:avLst/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9BBD66C-3FC4-C4B8-230F-3C5026A8FAAE}"/>
              </a:ext>
            </a:extLst>
          </p:cNvPr>
          <p:cNvSpPr/>
          <p:nvPr/>
        </p:nvSpPr>
        <p:spPr bwMode="auto">
          <a:xfrm>
            <a:off x="8859880" y="4906606"/>
            <a:ext cx="1286120" cy="1286122"/>
          </a:xfrm>
          <a:prstGeom prst="ellipse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9" name="Rounded Rectangular Callout 78">
            <a:extLst>
              <a:ext uri="{FF2B5EF4-FFF2-40B4-BE49-F238E27FC236}">
                <a16:creationId xmlns:a16="http://schemas.microsoft.com/office/drawing/2014/main" id="{78AFA350-3D89-9653-0E7B-564E034E3F6E}"/>
              </a:ext>
            </a:extLst>
          </p:cNvPr>
          <p:cNvSpPr/>
          <p:nvPr/>
        </p:nvSpPr>
        <p:spPr bwMode="auto">
          <a:xfrm>
            <a:off x="3240132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0" name="Rounded Rectangular Callout 79">
            <a:extLst>
              <a:ext uri="{FF2B5EF4-FFF2-40B4-BE49-F238E27FC236}">
                <a16:creationId xmlns:a16="http://schemas.microsoft.com/office/drawing/2014/main" id="{8860BA5B-F3B0-CD6C-AFA6-F52399E0DDBE}"/>
              </a:ext>
            </a:extLst>
          </p:cNvPr>
          <p:cNvSpPr/>
          <p:nvPr/>
        </p:nvSpPr>
        <p:spPr bwMode="auto">
          <a:xfrm flipH="1">
            <a:off x="6822529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1" name="Rounded Rectangular Callout 80">
            <a:extLst>
              <a:ext uri="{FF2B5EF4-FFF2-40B4-BE49-F238E27FC236}">
                <a16:creationId xmlns:a16="http://schemas.microsoft.com/office/drawing/2014/main" id="{7C647CBA-FD3E-B571-F33C-49666161D0F9}"/>
              </a:ext>
            </a:extLst>
          </p:cNvPr>
          <p:cNvSpPr/>
          <p:nvPr/>
        </p:nvSpPr>
        <p:spPr bwMode="auto">
          <a:xfrm rot="10800000">
            <a:off x="6822529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2" name="Rounded Rectangular Callout 81">
            <a:extLst>
              <a:ext uri="{FF2B5EF4-FFF2-40B4-BE49-F238E27FC236}">
                <a16:creationId xmlns:a16="http://schemas.microsoft.com/office/drawing/2014/main" id="{E890D40E-931C-AD3D-1A59-6E329EBDF53D}"/>
              </a:ext>
            </a:extLst>
          </p:cNvPr>
          <p:cNvSpPr/>
          <p:nvPr/>
        </p:nvSpPr>
        <p:spPr bwMode="auto">
          <a:xfrm rot="10800000" flipH="1">
            <a:off x="3240132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53CD6B-4E3E-B9DE-DEB7-2D6178929EE2}"/>
              </a:ext>
            </a:extLst>
          </p:cNvPr>
          <p:cNvSpPr/>
          <p:nvPr/>
        </p:nvSpPr>
        <p:spPr bwMode="auto">
          <a:xfrm>
            <a:off x="3277608" y="2320735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STRENGTH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37D66A-DE49-5D5A-83B9-D1C1C568E522}"/>
              </a:ext>
            </a:extLst>
          </p:cNvPr>
          <p:cNvGrpSpPr/>
          <p:nvPr/>
        </p:nvGrpSpPr>
        <p:grpSpPr>
          <a:xfrm>
            <a:off x="2282821" y="1299744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25" name="Freeform 105">
              <a:extLst>
                <a:ext uri="{FF2B5EF4-FFF2-40B4-BE49-F238E27FC236}">
                  <a16:creationId xmlns:a16="http://schemas.microsoft.com/office/drawing/2014/main" id="{8989B6F4-B4AA-B462-2ECA-E89DB85629C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C4687694-9C50-394F-A7FC-4E780C0EB7F7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5D2392F5-1B01-BFFB-D6B2-BCE66A1B0EA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CA9ACCDE-A553-ECB3-CD5F-670A7FE34108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FDB75303-0A2B-F8D2-D3F7-006019F99C6D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B5B7B4-65E2-E2FE-D0F7-734AF7AD2A42}"/>
              </a:ext>
            </a:extLst>
          </p:cNvPr>
          <p:cNvGrpSpPr/>
          <p:nvPr/>
        </p:nvGrpSpPr>
        <p:grpSpPr>
          <a:xfrm>
            <a:off x="9105411" y="5146045"/>
            <a:ext cx="821398" cy="776478"/>
            <a:chOff x="3878664" y="3496826"/>
            <a:chExt cx="1286189" cy="1215851"/>
          </a:xfrm>
          <a:solidFill>
            <a:schemeClr val="bg1"/>
          </a:solidFill>
        </p:grpSpPr>
        <p:sp>
          <p:nvSpPr>
            <p:cNvPr id="31" name="Freeform 102">
              <a:extLst>
                <a:ext uri="{FF2B5EF4-FFF2-40B4-BE49-F238E27FC236}">
                  <a16:creationId xmlns:a16="http://schemas.microsoft.com/office/drawing/2014/main" id="{4DE8D073-06B4-995F-7F97-C21A713581A7}"/>
                </a:ext>
              </a:extLst>
            </p:cNvPr>
            <p:cNvSpPr/>
            <p:nvPr/>
          </p:nvSpPr>
          <p:spPr bwMode="auto">
            <a:xfrm>
              <a:off x="3878664" y="3496826"/>
              <a:ext cx="1286189" cy="1215851"/>
            </a:xfrm>
            <a:custGeom>
              <a:avLst/>
              <a:gdLst>
                <a:gd name="connsiteX0" fmla="*/ 0 w 1286189"/>
                <a:gd name="connsiteY0" fmla="*/ 1075174 h 1215851"/>
                <a:gd name="connsiteX1" fmla="*/ 602901 w 1286189"/>
                <a:gd name="connsiteY1" fmla="*/ 0 h 1215851"/>
                <a:gd name="connsiteX2" fmla="*/ 683288 w 1286189"/>
                <a:gd name="connsiteY2" fmla="*/ 0 h 1215851"/>
                <a:gd name="connsiteX3" fmla="*/ 1286189 w 1286189"/>
                <a:gd name="connsiteY3" fmla="*/ 1115367 h 1215851"/>
                <a:gd name="connsiteX4" fmla="*/ 1266092 w 1286189"/>
                <a:gd name="connsiteY4" fmla="*/ 1175658 h 1215851"/>
                <a:gd name="connsiteX5" fmla="*/ 311499 w 1286189"/>
                <a:gd name="connsiteY5" fmla="*/ 1215851 h 1215851"/>
                <a:gd name="connsiteX6" fmla="*/ 160773 w 1286189"/>
                <a:gd name="connsiteY6" fmla="*/ 1135464 h 1215851"/>
                <a:gd name="connsiteX7" fmla="*/ 1165609 w 1286189"/>
                <a:gd name="connsiteY7" fmla="*/ 1095271 h 1215851"/>
                <a:gd name="connsiteX8" fmla="*/ 633046 w 1286189"/>
                <a:gd name="connsiteY8" fmla="*/ 70339 h 1215851"/>
                <a:gd name="connsiteX9" fmla="*/ 0 w 1286189"/>
                <a:gd name="connsiteY9" fmla="*/ 1075174 h 121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6189" h="1215851">
                  <a:moveTo>
                    <a:pt x="0" y="1075174"/>
                  </a:moveTo>
                  <a:lnTo>
                    <a:pt x="602901" y="0"/>
                  </a:lnTo>
                  <a:lnTo>
                    <a:pt x="683288" y="0"/>
                  </a:lnTo>
                  <a:lnTo>
                    <a:pt x="1286189" y="1115367"/>
                  </a:lnTo>
                  <a:lnTo>
                    <a:pt x="1266092" y="1175658"/>
                  </a:lnTo>
                  <a:lnTo>
                    <a:pt x="311499" y="1215851"/>
                  </a:lnTo>
                  <a:lnTo>
                    <a:pt x="160773" y="1135464"/>
                  </a:lnTo>
                  <a:lnTo>
                    <a:pt x="1165609" y="1095271"/>
                  </a:lnTo>
                  <a:lnTo>
                    <a:pt x="633046" y="70339"/>
                  </a:lnTo>
                  <a:lnTo>
                    <a:pt x="0" y="1075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103">
              <a:extLst>
                <a:ext uri="{FF2B5EF4-FFF2-40B4-BE49-F238E27FC236}">
                  <a16:creationId xmlns:a16="http://schemas.microsoft.com/office/drawing/2014/main" id="{53D44421-D62F-1D46-FF15-7D4EB49918DD}"/>
                </a:ext>
              </a:extLst>
            </p:cNvPr>
            <p:cNvSpPr/>
            <p:nvPr/>
          </p:nvSpPr>
          <p:spPr bwMode="auto">
            <a:xfrm>
              <a:off x="4461468" y="3849686"/>
              <a:ext cx="120579" cy="502416"/>
            </a:xfrm>
            <a:custGeom>
              <a:avLst/>
              <a:gdLst>
                <a:gd name="connsiteX0" fmla="*/ 40194 w 120580"/>
                <a:gd name="connsiteY0" fmla="*/ 502417 h 502417"/>
                <a:gd name="connsiteX1" fmla="*/ 0 w 120580"/>
                <a:gd name="connsiteY1" fmla="*/ 0 h 502417"/>
                <a:gd name="connsiteX2" fmla="*/ 120580 w 120580"/>
                <a:gd name="connsiteY2" fmla="*/ 0 h 502417"/>
                <a:gd name="connsiteX3" fmla="*/ 40194 w 120580"/>
                <a:gd name="connsiteY3" fmla="*/ 502417 h 50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80" h="502417">
                  <a:moveTo>
                    <a:pt x="40194" y="502417"/>
                  </a:moveTo>
                  <a:lnTo>
                    <a:pt x="0" y="0"/>
                  </a:lnTo>
                  <a:lnTo>
                    <a:pt x="120580" y="0"/>
                  </a:lnTo>
                  <a:lnTo>
                    <a:pt x="40194" y="5024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104">
              <a:extLst>
                <a:ext uri="{FF2B5EF4-FFF2-40B4-BE49-F238E27FC236}">
                  <a16:creationId xmlns:a16="http://schemas.microsoft.com/office/drawing/2014/main" id="{E42D4E26-59BA-8CDE-9906-D4A8EB32F8EC}"/>
                </a:ext>
              </a:extLst>
            </p:cNvPr>
            <p:cNvSpPr/>
            <p:nvPr/>
          </p:nvSpPr>
          <p:spPr bwMode="auto">
            <a:xfrm>
              <a:off x="4431323" y="4431323"/>
              <a:ext cx="190919" cy="70339"/>
            </a:xfrm>
            <a:custGeom>
              <a:avLst/>
              <a:gdLst>
                <a:gd name="connsiteX0" fmla="*/ 0 w 190919"/>
                <a:gd name="connsiteY0" fmla="*/ 0 h 70339"/>
                <a:gd name="connsiteX1" fmla="*/ 160774 w 190919"/>
                <a:gd name="connsiteY1" fmla="*/ 0 h 70339"/>
                <a:gd name="connsiteX2" fmla="*/ 190919 w 190919"/>
                <a:gd name="connsiteY2" fmla="*/ 70339 h 70339"/>
                <a:gd name="connsiteX3" fmla="*/ 50242 w 190919"/>
                <a:gd name="connsiteY3" fmla="*/ 70339 h 70339"/>
                <a:gd name="connsiteX4" fmla="*/ 0 w 190919"/>
                <a:gd name="connsiteY4" fmla="*/ 0 h 7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919" h="70339">
                  <a:moveTo>
                    <a:pt x="0" y="0"/>
                  </a:moveTo>
                  <a:lnTo>
                    <a:pt x="160774" y="0"/>
                  </a:lnTo>
                  <a:lnTo>
                    <a:pt x="190919" y="70339"/>
                  </a:lnTo>
                  <a:lnTo>
                    <a:pt x="50242" y="7033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4B87281-5AAE-49C1-875B-4C41BAA3D0F7}"/>
              </a:ext>
            </a:extLst>
          </p:cNvPr>
          <p:cNvGrpSpPr/>
          <p:nvPr/>
        </p:nvGrpSpPr>
        <p:grpSpPr>
          <a:xfrm>
            <a:off x="2235917" y="5160358"/>
            <a:ext cx="897786" cy="744482"/>
            <a:chOff x="200967" y="3403250"/>
            <a:chExt cx="1688124" cy="1399862"/>
          </a:xfrm>
          <a:solidFill>
            <a:schemeClr val="bg1"/>
          </a:solidFill>
        </p:grpSpPr>
        <p:sp>
          <p:nvSpPr>
            <p:cNvPr id="35" name="Freeform 99">
              <a:extLst>
                <a:ext uri="{FF2B5EF4-FFF2-40B4-BE49-F238E27FC236}">
                  <a16:creationId xmlns:a16="http://schemas.microsoft.com/office/drawing/2014/main" id="{A18DA3F1-1EC0-A78C-6EE9-145DEDD6EF0E}"/>
                </a:ext>
              </a:extLst>
            </p:cNvPr>
            <p:cNvSpPr/>
            <p:nvPr/>
          </p:nvSpPr>
          <p:spPr bwMode="auto">
            <a:xfrm>
              <a:off x="200967" y="3506875"/>
              <a:ext cx="1457011" cy="1296237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 100">
              <a:extLst>
                <a:ext uri="{FF2B5EF4-FFF2-40B4-BE49-F238E27FC236}">
                  <a16:creationId xmlns:a16="http://schemas.microsoft.com/office/drawing/2014/main" id="{153089C3-6DD9-6772-DF7E-B84996DEA758}"/>
                </a:ext>
              </a:extLst>
            </p:cNvPr>
            <p:cNvSpPr/>
            <p:nvPr/>
          </p:nvSpPr>
          <p:spPr bwMode="auto">
            <a:xfrm>
              <a:off x="1219200" y="3403250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7" name="Freeform 101">
              <a:extLst>
                <a:ext uri="{FF2B5EF4-FFF2-40B4-BE49-F238E27FC236}">
                  <a16:creationId xmlns:a16="http://schemas.microsoft.com/office/drawing/2014/main" id="{27D35EF1-8244-32F4-6A2C-DF8C54C505E2}"/>
                </a:ext>
              </a:extLst>
            </p:cNvPr>
            <p:cNvSpPr/>
            <p:nvPr/>
          </p:nvSpPr>
          <p:spPr bwMode="auto">
            <a:xfrm>
              <a:off x="1460361" y="4166924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F88862D-5E47-E543-3CBF-329F34832372}"/>
              </a:ext>
            </a:extLst>
          </p:cNvPr>
          <p:cNvGrpSpPr/>
          <p:nvPr/>
        </p:nvGrpSpPr>
        <p:grpSpPr>
          <a:xfrm flipV="1">
            <a:off x="9105423" y="1306285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39" name="Freeform 94">
              <a:extLst>
                <a:ext uri="{FF2B5EF4-FFF2-40B4-BE49-F238E27FC236}">
                  <a16:creationId xmlns:a16="http://schemas.microsoft.com/office/drawing/2014/main" id="{CB8B01A0-91D0-AB21-E635-1094DE9CF47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 95">
              <a:extLst>
                <a:ext uri="{FF2B5EF4-FFF2-40B4-BE49-F238E27FC236}">
                  <a16:creationId xmlns:a16="http://schemas.microsoft.com/office/drawing/2014/main" id="{FF956999-2EA4-1E7A-1D43-68502D85ACE4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1" name="Freeform 96">
              <a:extLst>
                <a:ext uri="{FF2B5EF4-FFF2-40B4-BE49-F238E27FC236}">
                  <a16:creationId xmlns:a16="http://schemas.microsoft.com/office/drawing/2014/main" id="{C4F83622-BFD6-D8BA-2B1A-15350DB8C4C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2" name="Freeform 97">
              <a:extLst>
                <a:ext uri="{FF2B5EF4-FFF2-40B4-BE49-F238E27FC236}">
                  <a16:creationId xmlns:a16="http://schemas.microsoft.com/office/drawing/2014/main" id="{45F1358B-95A5-4C30-3565-1CDB59872839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3" name="Freeform 98">
              <a:extLst>
                <a:ext uri="{FF2B5EF4-FFF2-40B4-BE49-F238E27FC236}">
                  <a16:creationId xmlns:a16="http://schemas.microsoft.com/office/drawing/2014/main" id="{33C6AD0A-2C78-3E96-ACF2-C4545AE2FF88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9D84AB0-4A7B-C608-2D16-C1D4358E0D99}"/>
              </a:ext>
            </a:extLst>
          </p:cNvPr>
          <p:cNvSpPr txBox="1"/>
          <p:nvPr/>
        </p:nvSpPr>
        <p:spPr>
          <a:xfrm>
            <a:off x="3401962" y="271594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E742662-D17E-2F5A-1594-B719DD380787}"/>
              </a:ext>
            </a:extLst>
          </p:cNvPr>
          <p:cNvSpPr/>
          <p:nvPr/>
        </p:nvSpPr>
        <p:spPr bwMode="auto">
          <a:xfrm>
            <a:off x="6834453" y="2341177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WEAKN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11EE256-74E8-CE61-72AD-6395580D2385}"/>
              </a:ext>
            </a:extLst>
          </p:cNvPr>
          <p:cNvSpPr txBox="1"/>
          <p:nvPr/>
        </p:nvSpPr>
        <p:spPr>
          <a:xfrm>
            <a:off x="6958807" y="27363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47483A-8556-3369-5B82-42B74AE1A383}"/>
              </a:ext>
            </a:extLst>
          </p:cNvPr>
          <p:cNvSpPr/>
          <p:nvPr/>
        </p:nvSpPr>
        <p:spPr bwMode="auto">
          <a:xfrm>
            <a:off x="3287829" y="380275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OPPORTUN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26D142A-E05D-64F6-EFA5-254F015A2AC4}"/>
              </a:ext>
            </a:extLst>
          </p:cNvPr>
          <p:cNvSpPr txBox="1"/>
          <p:nvPr/>
        </p:nvSpPr>
        <p:spPr>
          <a:xfrm>
            <a:off x="3412183" y="419796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9606F6-8D58-3DAC-2B72-0D2F0FBDECFE}"/>
              </a:ext>
            </a:extLst>
          </p:cNvPr>
          <p:cNvSpPr/>
          <p:nvPr/>
        </p:nvSpPr>
        <p:spPr bwMode="auto">
          <a:xfrm>
            <a:off x="6885558" y="381297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THREA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219700-92D4-4927-82E1-FC7D3E3B8E12}"/>
              </a:ext>
            </a:extLst>
          </p:cNvPr>
          <p:cNvSpPr txBox="1"/>
          <p:nvPr/>
        </p:nvSpPr>
        <p:spPr>
          <a:xfrm>
            <a:off x="7009911" y="42081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07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7</TotalTime>
  <Words>31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06</cp:revision>
  <dcterms:created xsi:type="dcterms:W3CDTF">2021-03-31T02:49:57Z</dcterms:created>
  <dcterms:modified xsi:type="dcterms:W3CDTF">2025-10-15T03:39:08Z</dcterms:modified>
  <cp:category/>
</cp:coreProperties>
</file>